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66" r:id="rId2"/>
    <p:sldId id="367" r:id="rId3"/>
    <p:sldId id="368" r:id="rId4"/>
    <p:sldId id="369" r:id="rId5"/>
    <p:sldId id="393" r:id="rId6"/>
    <p:sldId id="316" r:id="rId7"/>
  </p:sldIdLst>
  <p:sldSz cx="11520488" cy="6480175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2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87010" autoAdjust="0"/>
  </p:normalViewPr>
  <p:slideViewPr>
    <p:cSldViewPr showGuides="1">
      <p:cViewPr varScale="1">
        <p:scale>
          <a:sx n="138" d="100"/>
          <a:sy n="138" d="100"/>
        </p:scale>
        <p:origin x="126" y="270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6"/>
    </p:cViewPr>
  </p:sorterViewPr>
  <p:notesViewPr>
    <p:cSldViewPr>
      <p:cViewPr varScale="1">
        <p:scale>
          <a:sx n="80" d="100"/>
          <a:sy n="80" d="100"/>
        </p:scale>
        <p:origin x="201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B33599C-5299-466F-ABD6-F73B2C70A8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10AA39-F8E0-437F-A1D1-2216A3149D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56EE87-B697-457C-9A42-C3539DD63255}" type="datetimeFigureOut">
              <a:rPr lang="de-DE" smtClean="0"/>
              <a:t>31.08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E999F86-6EC8-44A9-AD2D-4A8465F95B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EB5007-36E9-44FC-ACE9-C79A986A006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098931-AAE7-4640-BCB7-B4F073CA81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81725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0E7FB0-F2CB-4390-B51F-8FA22CF0389F}" type="datetimeFigureOut">
              <a:rPr lang="de-DE" smtClean="0"/>
              <a:t>31.08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768BF4-7430-4995-A949-EB4F50B9A8B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674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&gt;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75B90DA-0A2D-415B-AE49-06416E0D27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332000"/>
            <a:ext cx="11520488" cy="496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lease insert picture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0B2065D8-847E-4E5F-958D-9E6FE8280EE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12000" y="972000"/>
            <a:ext cx="828000" cy="180000"/>
          </a:xfrm>
        </p:spPr>
        <p:txBody>
          <a:bodyPr/>
          <a:lstStyle>
            <a:lvl1pPr algn="l">
              <a:defRPr sz="1200" b="0"/>
            </a:lvl1pPr>
          </a:lstStyle>
          <a:p>
            <a:fld id="{3846FA5A-1217-438E-86C6-D73147275A8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5298599-5638-4824-8D82-747AFE33DA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6000" y="971551"/>
            <a:ext cx="5508000" cy="180000"/>
          </a:xfrm>
          <a:prstGeom prst="rect">
            <a:avLst/>
          </a:prstGeom>
        </p:spPr>
        <p:txBody>
          <a:bodyPr/>
          <a:lstStyle>
            <a:lvl1pPr marL="144000" indent="-144000">
              <a:lnSpc>
                <a:spcPct val="100000"/>
              </a:lnSpc>
              <a:buClr>
                <a:schemeClr val="accent1"/>
              </a:buClr>
              <a:buFont typeface="Open Sans" panose="020B0606030504020204" pitchFamily="34" charset="0"/>
              <a:buChar char="|"/>
              <a:defRPr lang="de-DE" sz="1200" b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Click to edit Master text styles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4E8F24C-C5FD-4205-9721-E6D609178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72C637-8EE0-40C4-BA80-59812385EB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6000" y="288000"/>
            <a:ext cx="1866900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16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ank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BAEFD2-0EB7-47F4-8C01-9A831DB98F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00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50CCE-AD7E-43E6-B8C7-B4DB57D2EDA3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1D7390F-3EB9-4359-AEBA-12555B6185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2858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Blank righ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04245-BF56-40B8-9CE1-94AA0C033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502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1C38F8FC-2E71-C821-1C72-EE62833430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01F2409-D2A1-4542-BC70-C7CD6CB1E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281772-8482-4223-9441-111B53534A47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2651F15-C668-4A10-A0A3-FAF165CE5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5557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02999-B417-45FA-8F68-15287E2FA00D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3808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DE26881-6E9D-4013-A41B-3E13B7DB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6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DE26881-6E9D-4013-A41B-3E13B7DB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93AD0-B1A3-497F-9238-3508DC247520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C2E48F-818D-4284-802E-0B83AB7AA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6A4E4C0-9DA9-FFBE-3056-FC68B8B0E0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482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08D40D-F586-4CD0-8792-32B1E255E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95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6C726599-1534-23C6-B992-553FA79F70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E0CB7F6-8104-4507-BBE6-1029A34A08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AD7B5F-E507-4798-8BC7-21BB8648506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AABAC3-25E9-4FD5-A979-0D9205BDA2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87150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8C2075-EA8F-450A-B4A7-B411F25A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16E94E-EBD8-48F7-AF8C-2D5CF73046F9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115B40-B74D-4C18-93A2-27473B717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41416BF-6863-4175-9D9B-0A98C332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01363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aim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AAD735-68C7-4830-8543-B4338493F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61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BBE57-9CE3-43C6-9E9D-5F0E4FEA09CA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accent5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accent5"/>
                </a:solidFill>
              </a:defRPr>
            </a:lvl2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A6BF131-093D-435C-9BED-223DF4564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8389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aim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DE6080A-27AC-4D83-A570-992F95EEF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39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E3A1F700-22F6-6421-9CB0-B1DA6EBF8B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40D1E7E-7411-4AFD-B6D1-14319F565AB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1636B5-AAAE-44F2-892F-A0A4D79FBF40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0000" y="1800225"/>
            <a:ext cx="7560000" cy="4176713"/>
          </a:xfrm>
        </p:spPr>
        <p:txBody>
          <a:bodyPr/>
          <a:lstStyle>
            <a:lvl1pPr>
              <a:lnSpc>
                <a:spcPts val="3200"/>
              </a:lnSpc>
              <a:defRPr sz="2400" b="0">
                <a:solidFill>
                  <a:schemeClr val="bg1"/>
                </a:solidFill>
              </a:defRPr>
            </a:lvl1pPr>
            <a:lvl2pPr marL="0" indent="0">
              <a:lnSpc>
                <a:spcPts val="3200"/>
              </a:lnSpc>
              <a:buNone/>
              <a:defRPr sz="24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12A4851-5ABB-4547-91F1-5CE8A8EDE3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38484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ABB98FA-9B78-4277-801D-DFCD996E0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25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D870560-21E5-43EA-A374-AD42A8C425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520488" cy="6480175"/>
          </a:xfrm>
          <a:solidFill>
            <a:schemeClr val="bg2"/>
          </a:solidFill>
        </p:spPr>
        <p:txBody>
          <a:bodyPr/>
          <a:lstStyle/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Please insert picture</a:t>
            </a:r>
          </a:p>
          <a:p>
            <a:endParaRPr lang="de-DE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1DDE135-087D-48D1-87D8-7119F994434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D23828A-2D1F-45B9-A821-9A822355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2F36A3-D946-45F6-999D-3BA74B780BA4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E2C9E65-9DB8-4338-81DC-37214567F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CAAA6C5-3E55-4209-94E8-5221649BF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FDF44F-8C22-40FA-B750-DD433501A4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23864"/>
            <a:ext cx="3096000" cy="4753074"/>
          </a:xfrm>
        </p:spPr>
        <p:txBody>
          <a:bodyPr/>
          <a:lstStyle>
            <a:lvl1pPr>
              <a:lnSpc>
                <a:spcPts val="2300"/>
              </a:lnSpc>
              <a:defRPr sz="1800" b="0">
                <a:solidFill>
                  <a:schemeClr val="accent1"/>
                </a:solidFill>
                <a:latin typeface="+mj-lt"/>
              </a:defRPr>
            </a:lvl1pPr>
            <a:lvl2pPr marL="342900" indent="-342900">
              <a:spcBef>
                <a:spcPts val="6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 sz="3100">
                <a:solidFill>
                  <a:schemeClr val="tx1">
                    <a:alpha val="0"/>
                  </a:schemeClr>
                </a:solidFill>
              </a:defRPr>
            </a:lvl2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Ebene2</a:t>
            </a:r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CBC1202-57F9-4F31-B00F-707562983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9616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CECA0E-61E3-49AD-BF2A-F935851723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31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9ED0E-3DFB-4B6F-B1D3-93EFCAF5A51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2pPr marL="252000" indent="-252000">
              <a:buFont typeface="Arial" panose="020B0604020202020204" pitchFamily="34" charset="0"/>
              <a:buChar char="&gt;"/>
              <a:tabLst/>
              <a:defRPr/>
            </a:lvl2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5A189B6-EE6C-42FE-907F-6334716044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none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7716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90C6F88-25A2-4779-BE60-14363614E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85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3BDB5631-0380-2FD2-4650-FC4ED6800D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54713CB-AA68-4ADF-808A-3967EF18C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6A335B3-ABCB-441C-8AAE-F37BE26B10F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555F28B-BDBF-413E-9727-643E5A1DD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1D7498-E557-403D-BF95-106392436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14838-8B06-4CFE-ABF1-BE7BB32DD0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4"/>
            <a:ext cx="10656888" cy="41767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F4DCAE7-9151-42E9-A92A-B7811399A86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C89502B5-BDA9-4F39-8160-24B865EF5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4739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28C833-5399-3F68-6FE4-022868F92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377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30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ease insert picture</a:t>
            </a:r>
            <a:endParaRPr lang="de-DE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1C0CB2-159F-4441-8A67-F8B6FC1DFD0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FB3005-7353-84FA-4E9C-FAE5DBEA9D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431800"/>
            <a:ext cx="6505197" cy="576293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D4760F-9CAC-4290-182E-37ECC05B49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008093"/>
            <a:ext cx="4285615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separate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box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F1F6C83-0A93-30A3-258A-1A124F4614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1657090"/>
            <a:ext cx="6649147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b="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Lines can be added by copy/pas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810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icture with dark Fav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28C833-5399-3F68-6FE4-022868F92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0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28C833-5399-3F68-6FE4-022868F92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30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Please insert picture</a:t>
            </a:r>
            <a:endParaRPr lang="de-DE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1C0CB2-159F-4441-8A67-F8B6FC1DFD0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6300000"/>
            <a:ext cx="11520000" cy="18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BFB3005-7353-84FA-4E9C-FAE5DBEA9D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431800"/>
            <a:ext cx="6505197" cy="576293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D4760F-9CAC-4290-182E-37ECC05B49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008093"/>
            <a:ext cx="4285615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separate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box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F1F6C83-0A93-30A3-258A-1A124F4614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1657090"/>
            <a:ext cx="6649147" cy="648997"/>
          </a:xfrm>
          <a:solidFill>
            <a:schemeClr val="accent1"/>
          </a:solidFill>
        </p:spPr>
        <p:txBody>
          <a:bodyPr wrap="none" lIns="180000" tIns="108000" rIns="180000" bIns="108000">
            <a:spAutoFit/>
          </a:bodyPr>
          <a:lstStyle>
            <a:lvl1pPr>
              <a:lnSpc>
                <a:spcPct val="100000"/>
              </a:lnSpc>
              <a:defRPr sz="2800" b="0" cap="all" baseline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Lines can be added by copy/pas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896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7069B1-7B55-5482-ED4D-8B8912456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34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48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Please insert picture</a:t>
            </a:r>
          </a:p>
          <a:p>
            <a:endParaRPr lang="de-DE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50EB05E-444A-4883-A917-D336219F63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8F9E3D-F641-405D-8585-9B5F457BCA2A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BDD1E-55C6-46D6-A0C9-A9E0E7BA87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A491EE-5570-4717-970C-05CAF86F22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945230-2AD8-78E6-DD9D-A974C75174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3E31608-FBFB-6E44-DFCC-B849076EFB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915760"/>
            <a:ext cx="3613573" cy="483960"/>
          </a:xfrm>
          <a:solidFill>
            <a:schemeClr val="accent1"/>
          </a:solidFill>
        </p:spPr>
        <p:txBody>
          <a:bodyPr wrap="none" lIns="180000" tIns="72000" rIns="180000" bIns="72000">
            <a:spAutoFit/>
          </a:bodyPr>
          <a:lstStyle>
            <a:lvl1pPr>
              <a:lnSpc>
                <a:spcPct val="100000"/>
              </a:lnSpc>
              <a:defRPr sz="22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Second line possi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3255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with dark Fav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17069B1-7B55-5482-ED4D-8B8912456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34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17069B1-7B55-5482-ED4D-8B8912456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D93EF8A-C553-456A-8855-BC2209C595E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1520488" cy="6480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864017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Please insert picture</a:t>
            </a:r>
          </a:p>
          <a:p>
            <a:endParaRPr lang="de-DE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7FD4C7DD-03C4-45C3-92A7-10D074AE831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0836300" y="431800"/>
            <a:ext cx="266400" cy="5040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50EB05E-444A-4883-A917-D336219F63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85AE87-3C7B-4634-A13E-814687818988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9BDD1E-55C6-46D6-A0C9-A9E0E7BA87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8A491EE-5570-4717-970C-05CAF86F22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945230-2AD8-78E6-DD9D-A974C75174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3E31608-FBFB-6E44-DFCC-B849076EFB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915760"/>
            <a:ext cx="3613573" cy="483960"/>
          </a:xfrm>
          <a:solidFill>
            <a:schemeClr val="accent1"/>
          </a:solidFill>
        </p:spPr>
        <p:txBody>
          <a:bodyPr wrap="none" lIns="180000" tIns="72000" rIns="180000" bIns="72000">
            <a:spAutoFit/>
          </a:bodyPr>
          <a:lstStyle>
            <a:lvl1pPr>
              <a:lnSpc>
                <a:spcPct val="100000"/>
              </a:lnSpc>
              <a:defRPr sz="22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Second line possi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0210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8B6C6F-BD2C-4E55-AB78-1E63310AE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B07-D0BA-48A0-9693-E890B3652124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569744-C8ED-4779-AC80-DA1B98385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8662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7D9BBC2-7310-4903-940B-90690B298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7888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452F398D-C07C-12B1-D5DE-FA63F00EF1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9971FA2-30EF-43C5-8436-38D2FA44D3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6650AC-28E1-4DD3-BE53-8F4133981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54FEA1-5D77-4028-9F65-9F8C24688654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0FC3A8-5A84-4805-8669-A4FD5B88C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E3EA8E-4B59-4444-9883-E7B8A4374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E70650A6-A24B-498D-9EFD-E657A8C8685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800225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  <a:endParaRPr lang="de-DE" dirty="0"/>
          </a:p>
        </p:txBody>
      </p: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11984634-E143-4B7F-A5F6-A2B3CAA9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834476" y="1798544"/>
            <a:ext cx="5256213" cy="4176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457200" indent="-457200"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CAB2934-C1F1-4C84-8F44-C2C2C2A06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8666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5.sv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28" Type="http://schemas.openxmlformats.org/officeDocument/2006/relationships/image" Target="../media/image7.sv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Relationship Id="rId27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48FB46A-897A-4FBB-9A4C-5AC388883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48372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44" imgH="345" progId="TCLayout.ActiveDocument.1">
                  <p:embed/>
                </p:oleObj>
              </mc:Choice>
              <mc:Fallback>
                <p:oleObj name="think-cell Folie" r:id="rId2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78B85E22-5209-4FF5-9907-4AC3A0667CA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205163" y="0"/>
            <a:ext cx="8315325" cy="6477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431800"/>
            <a:ext cx="5210163" cy="48396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80000" tIns="72000" rIns="180000" bIns="72000" rtlCol="0" anchor="ctr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1" y="1800225"/>
            <a:ext cx="10656887" cy="4176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44000" y="6156000"/>
            <a:ext cx="7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 b="1">
                <a:solidFill>
                  <a:schemeClr val="accent1"/>
                </a:solidFill>
              </a:defRPr>
            </a:lvl1pPr>
          </a:lstStyle>
          <a:p>
            <a:fld id="{E300C9D7-684B-4CAA-B737-F42631F6440D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0" y="6156000"/>
            <a:ext cx="63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Footnot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6000" y="61560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tabLst>
                <a:tab pos="252000" algn="r"/>
              </a:tabLst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8C188E2-DF28-48FB-8EEC-71D6A13B9A9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836000" y="431800"/>
            <a:ext cx="266700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36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0" r:id="rId2"/>
    <p:sldLayoutId id="2147483671" r:id="rId3"/>
    <p:sldLayoutId id="2147483663" r:id="rId4"/>
    <p:sldLayoutId id="2147483686" r:id="rId5"/>
    <p:sldLayoutId id="2147483665" r:id="rId6"/>
    <p:sldLayoutId id="2147483685" r:id="rId7"/>
    <p:sldLayoutId id="2147483652" r:id="rId8"/>
    <p:sldLayoutId id="2147483683" r:id="rId9"/>
    <p:sldLayoutId id="2147483670" r:id="rId10"/>
    <p:sldLayoutId id="2147483672" r:id="rId11"/>
    <p:sldLayoutId id="2147483654" r:id="rId12"/>
    <p:sldLayoutId id="2147483684" r:id="rId13"/>
    <p:sldLayoutId id="2147483673" r:id="rId14"/>
    <p:sldLayoutId id="2147483655" r:id="rId15"/>
    <p:sldLayoutId id="2147483668" r:id="rId16"/>
    <p:sldLayoutId id="2147483682" r:id="rId17"/>
    <p:sldLayoutId id="2147483661" r:id="rId18"/>
  </p:sldLayoutIdLst>
  <p:hf hdr="0" ftr="0"/>
  <p:txStyles>
    <p:titleStyle>
      <a:lvl1pPr algn="l" defTabSz="864017" rtl="0" eaLnBrk="1" latinLnBrk="0" hangingPunct="1"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None/>
        <a:defRPr lang="en-US"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864017" rtl="0" eaLnBrk="1" latinLnBrk="0" hangingPunct="1">
        <a:lnSpc>
          <a:spcPts val="24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864017" rtl="0" eaLnBrk="1" latinLnBrk="0" hangingPunct="1">
        <a:lnSpc>
          <a:spcPts val="2400"/>
        </a:lnSpc>
        <a:spcBef>
          <a:spcPts val="0"/>
        </a:spcBef>
        <a:buFont typeface="Open Sans" panose="020B0606030504020204" pitchFamily="34" charset="0"/>
        <a:buChar char="-"/>
        <a:defRPr lang="en-US"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ts val="24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accent1"/>
          </a:solidFill>
          <a:latin typeface="Open Sans Light" pitchFamily="2" charset="0"/>
          <a:ea typeface="Open Sans Light" pitchFamily="2" charset="0"/>
          <a:cs typeface="Open Sans Light" pitchFamily="2" charset="0"/>
        </a:defRPr>
      </a:lvl4pPr>
      <a:lvl5pPr marL="0" indent="0" algn="l" defTabSz="864017" rtl="0" eaLnBrk="1" latinLnBrk="0" hangingPunct="1">
        <a:lnSpc>
          <a:spcPts val="1200"/>
        </a:lnSpc>
        <a:spcBef>
          <a:spcPts val="0"/>
        </a:spcBef>
        <a:buFont typeface="Open Sans" panose="020B0606030504020204" pitchFamily="34" charset="0"/>
        <a:buNone/>
        <a:defRPr lang="en-US" sz="9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ts val="2400"/>
        </a:lnSpc>
        <a:spcBef>
          <a:spcPts val="600"/>
        </a:spcBef>
        <a:spcAft>
          <a:spcPts val="600"/>
        </a:spcAft>
        <a:buFontTx/>
        <a:buBlip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</a:buBlip>
        <a:defRPr sz="31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spcBef>
          <a:spcPts val="0"/>
        </a:spcBef>
        <a:buFont typeface="Arial" panose="020B0604020202020204" pitchFamily="34" charset="0"/>
        <a:buNone/>
        <a:defRPr sz="1890" b="1" i="0" kern="1200">
          <a:solidFill>
            <a:srgbClr val="FF0000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pos="6985" userDrawn="1">
          <p15:clr>
            <a:srgbClr val="F26B43"/>
          </p15:clr>
        </p15:guide>
        <p15:guide id="4" pos="3583" userDrawn="1">
          <p15:clr>
            <a:srgbClr val="F26B43"/>
          </p15:clr>
        </p15:guide>
        <p15:guide id="5" pos="3674" userDrawn="1">
          <p15:clr>
            <a:srgbClr val="F26B43"/>
          </p15:clr>
        </p15:guide>
        <p15:guide id="6" orient="horz" pos="1134" userDrawn="1">
          <p15:clr>
            <a:srgbClr val="F26B43"/>
          </p15:clr>
        </p15:guide>
        <p15:guide id="7" orient="horz" pos="37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2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platzhalter 71">
            <a:extLst>
              <a:ext uri="{FF2B5EF4-FFF2-40B4-BE49-F238E27FC236}">
                <a16:creationId xmlns:a16="http://schemas.microsoft.com/office/drawing/2014/main" id="{E0F2F026-7F5A-4E6D-8389-96DE174FE85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31662" b="5103"/>
          <a:stretch/>
        </p:blipFill>
        <p:spPr>
          <a:xfrm>
            <a:off x="0" y="1332000"/>
            <a:ext cx="11520488" cy="4968000"/>
          </a:xfr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6D02A2-46F7-4D2F-805B-84D9026656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618EF4-C421-4706-912F-05B9867F6267}" type="datetime1">
              <a:rPr lang="de-DE" smtClean="0"/>
              <a:t>31.08.2023</a:t>
            </a:fld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9AA4220D-712B-4F80-8FCF-9D0822D36B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arcus Kase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2D1DC9-433E-4FF0-8202-6C7B61CF02C1}"/>
              </a:ext>
            </a:extLst>
          </p:cNvPr>
          <p:cNvSpPr txBox="1"/>
          <p:nvPr/>
        </p:nvSpPr>
        <p:spPr>
          <a:xfrm>
            <a:off x="431800" y="1799727"/>
            <a:ext cx="6912616" cy="6489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180000" tIns="108000" rIns="180000" bIns="108000" rtlCol="0" anchor="ctr" anchorCtr="0">
            <a:spAutoFit/>
          </a:bodyPr>
          <a:lstStyle>
            <a:defPPr>
              <a:defRPr lang="de-DE"/>
            </a:defPPr>
            <a:lvl1pPr>
              <a:defRPr sz="2800" b="1" cap="all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2800" b="1" cap="all" dirty="0">
                <a:solidFill>
                  <a:schemeClr val="bg1"/>
                </a:solidFill>
              </a:rPr>
              <a:t>Distributed Systems &amp; Messaging</a:t>
            </a:r>
          </a:p>
        </p:txBody>
      </p:sp>
    </p:spTree>
    <p:extLst>
      <p:ext uri="{BB962C8B-B14F-4D97-AF65-F5344CB8AC3E}">
        <p14:creationId xmlns:p14="http://schemas.microsoft.com/office/powerpoint/2010/main" val="1496990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F3FABB-CC1D-0015-CC3B-2A8E86474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9ED0E-3DFB-4B6F-B1D3-93EFCAF5A51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6B0B1D-2FF8-5A24-3E13-1869DDB17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64D3D8-FDFA-895B-7FCA-5B64B0352F3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1"/>
            <a:r>
              <a:rPr lang="en-US" dirty="0"/>
              <a:t>Scalability</a:t>
            </a:r>
            <a:br>
              <a:rPr lang="en-US" dirty="0"/>
            </a:br>
            <a:r>
              <a:rPr lang="en-US" dirty="0"/>
              <a:t>Serve millions of users without a hitch.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Fault Tolerance</a:t>
            </a:r>
            <a:br>
              <a:rPr lang="en-US" dirty="0"/>
            </a:br>
            <a:r>
              <a:rPr lang="en-US" dirty="0"/>
              <a:t>System remains operational even if part of it fails.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Geographic Distribution</a:t>
            </a:r>
            <a:br>
              <a:rPr lang="en-US" dirty="0"/>
            </a:br>
            <a:r>
              <a:rPr lang="en-US" dirty="0"/>
              <a:t>Serve users from nearby locations.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Resource Sharing</a:t>
            </a:r>
            <a:br>
              <a:rPr lang="en-US" dirty="0"/>
            </a:br>
            <a:r>
              <a:rPr lang="en-US" dirty="0"/>
              <a:t>Maximizing efficiency by sharing resources.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8E0EC42-EAC9-867F-1733-243FB755F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4239577" cy="483960"/>
          </a:xfrm>
        </p:spPr>
        <p:txBody>
          <a:bodyPr/>
          <a:lstStyle/>
          <a:p>
            <a:r>
              <a:rPr lang="en-US" dirty="0"/>
              <a:t>Why Distributed Systems</a:t>
            </a:r>
          </a:p>
        </p:txBody>
      </p:sp>
    </p:spTree>
    <p:extLst>
      <p:ext uri="{BB962C8B-B14F-4D97-AF65-F5344CB8AC3E}">
        <p14:creationId xmlns:p14="http://schemas.microsoft.com/office/powerpoint/2010/main" val="3565273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6C3196-8D3C-89D3-28C7-AA12739C2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9ED0E-3DFB-4B6F-B1D3-93EFCAF5A51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1C9D8F-BC98-D512-0E4A-5C377335E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977DB41-F60A-A636-9AD7-9288021F7D6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raditional Development</a:t>
            </a:r>
          </a:p>
          <a:p>
            <a:endParaRPr lang="en-US" dirty="0"/>
          </a:p>
          <a:p>
            <a:pPr lvl="1"/>
            <a:r>
              <a:rPr lang="en-US" dirty="0"/>
              <a:t>Centralized system</a:t>
            </a:r>
          </a:p>
          <a:p>
            <a:pPr lvl="1"/>
            <a:r>
              <a:rPr lang="en-US" dirty="0"/>
              <a:t>Single point of failure</a:t>
            </a:r>
          </a:p>
          <a:p>
            <a:pPr lvl="1"/>
            <a:r>
              <a:rPr lang="en-US" dirty="0"/>
              <a:t>Limited scalability</a:t>
            </a:r>
          </a:p>
          <a:p>
            <a:pPr lvl="1"/>
            <a:r>
              <a:rPr lang="en-US" dirty="0"/>
              <a:t>Tightly coupled components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1B03B0C1-05F6-D062-6A6D-124BA0090D4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Distributed Development</a:t>
            </a:r>
          </a:p>
          <a:p>
            <a:endParaRPr lang="en-US" dirty="0"/>
          </a:p>
          <a:p>
            <a:pPr lvl="1"/>
            <a:r>
              <a:rPr lang="en-US" dirty="0"/>
              <a:t>Multiple nodes working together</a:t>
            </a:r>
          </a:p>
          <a:p>
            <a:pPr lvl="1"/>
            <a:r>
              <a:rPr lang="en-US" dirty="0"/>
              <a:t>Fault tolerance through replication</a:t>
            </a:r>
          </a:p>
          <a:p>
            <a:pPr lvl="1"/>
            <a:r>
              <a:rPr lang="en-US" dirty="0"/>
              <a:t>Scalability across nodes</a:t>
            </a:r>
          </a:p>
          <a:p>
            <a:pPr lvl="1"/>
            <a:r>
              <a:rPr lang="en-US" dirty="0"/>
              <a:t>Loosely coupled with messagin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C2B02D8-47AC-BE8A-EC8D-F41D3EB1D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6824387" cy="483960"/>
          </a:xfrm>
        </p:spPr>
        <p:txBody>
          <a:bodyPr/>
          <a:lstStyle/>
          <a:p>
            <a:r>
              <a:rPr lang="en-US" dirty="0"/>
              <a:t>Traditional vs. Distributed Development</a:t>
            </a:r>
          </a:p>
        </p:txBody>
      </p:sp>
    </p:spTree>
    <p:extLst>
      <p:ext uri="{BB962C8B-B14F-4D97-AF65-F5344CB8AC3E}">
        <p14:creationId xmlns:p14="http://schemas.microsoft.com/office/powerpoint/2010/main" val="1089925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6C3196-8D3C-89D3-28C7-AA12739C2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9ED0E-3DFB-4B6F-B1D3-93EFCAF5A515}" type="datetime1">
              <a:rPr lang="de-DE" smtClean="0"/>
              <a:t>31.08.2023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1C9D8F-BC98-D512-0E4A-5C377335E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	</a:t>
            </a:r>
            <a:fld id="{D0900252-63E7-4240-86F3-6BA42DE0C28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C2B02D8-47AC-BE8A-EC8D-F41D3EB1D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5627329" cy="483960"/>
          </a:xfrm>
        </p:spPr>
        <p:txBody>
          <a:bodyPr/>
          <a:lstStyle/>
          <a:p>
            <a:r>
              <a:rPr lang="en-US" dirty="0"/>
              <a:t>Orchestration vs. Choreograph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5F5F799-44D0-AB8B-238C-4D0D4B58F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780" y="915760"/>
            <a:ext cx="7610475" cy="568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8650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88D7619-4174-6CE0-EC08-7ED9455D1B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0" imgH="481" progId="TCLayout.ActiveDocument.1">
                  <p:embed/>
                </p:oleObj>
              </mc:Choice>
              <mc:Fallback>
                <p:oleObj name="think-cell Folie" r:id="rId3" imgW="480" imgH="4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88D7619-4174-6CE0-EC08-7ED9455D1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B65DC-3636-467F-A5DE-4927B0378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C00F8D-D21A-483E-83B9-F0BDD2BF2F36}" type="datetime1">
              <a:rPr lang="de-DE" smtClean="0"/>
              <a:t>31.08.2023</a:t>
            </a:fld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8165DF-EF8D-EBBF-4B3F-8B687E71B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	</a:t>
            </a:r>
            <a:fld id="{D0900252-63E7-4240-86F3-6BA42DE0C288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99A12EC9-1DF9-4427-A56D-89A09DDBBCC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253246897"/>
              </p:ext>
            </p:extLst>
          </p:nvPr>
        </p:nvGraphicFramePr>
        <p:xfrm>
          <a:off x="431800" y="1800225"/>
          <a:ext cx="10656888" cy="302400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160092">
                  <a:extLst>
                    <a:ext uri="{9D8B030D-6E8A-4147-A177-3AD203B41FA5}">
                      <a16:colId xmlns:a16="http://schemas.microsoft.com/office/drawing/2014/main" val="2981820651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3317360100"/>
                    </a:ext>
                  </a:extLst>
                </a:gridCol>
                <a:gridCol w="4320332">
                  <a:extLst>
                    <a:ext uri="{9D8B030D-6E8A-4147-A177-3AD203B41FA5}">
                      <a16:colId xmlns:a16="http://schemas.microsoft.com/office/drawing/2014/main" val="344406334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de-DE" sz="1600" dirty="0"/>
                        <a:t>Feature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Orchestration</a:t>
                      </a: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Choreography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6982428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864017" rtl="0" eaLnBrk="1" latinLnBrk="0" hangingPunct="1"/>
                      <a:r>
                        <a:rPr lang="de-DE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ntrol Flow</a:t>
                      </a:r>
                    </a:p>
                  </a:txBody>
                  <a:tcPr marL="108000" marR="108000" marT="72000" marB="72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Centralized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n-lt"/>
                        </a:rPr>
                        <a:t>Decentralized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04818017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864017" rtl="0" eaLnBrk="1" latinLnBrk="0" hangingPunct="1"/>
                      <a:r>
                        <a:rPr lang="de-DE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rvice Knowledge</a:t>
                      </a:r>
                    </a:p>
                  </a:txBody>
                  <a:tcPr marL="108000" marR="108000" marT="72000" marB="72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Orchestrator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knows</a:t>
                      </a:r>
                      <a:r>
                        <a:rPr lang="de-DE" sz="1600" dirty="0">
                          <a:latin typeface="+mn-lt"/>
                        </a:rPr>
                        <a:t> all </a:t>
                      </a:r>
                      <a:r>
                        <a:rPr lang="de-DE" sz="1600" dirty="0" err="1">
                          <a:latin typeface="+mn-lt"/>
                        </a:rPr>
                        <a:t>services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n-lt"/>
                        </a:rPr>
                        <a:t>Services </a:t>
                      </a:r>
                      <a:r>
                        <a:rPr lang="de-DE" sz="1600" dirty="0" err="1">
                          <a:latin typeface="+mn-lt"/>
                        </a:rPr>
                        <a:t>ar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autonomous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39312605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864017" rtl="0" eaLnBrk="1" latinLnBrk="0" hangingPunct="1"/>
                      <a:r>
                        <a:rPr lang="de-DE" sz="16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mplexity</a:t>
                      </a:r>
                      <a:endParaRPr lang="de-D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an </a:t>
                      </a:r>
                      <a:r>
                        <a:rPr lang="de-DE" sz="1600" dirty="0" err="1">
                          <a:latin typeface="+mn-lt"/>
                        </a:rPr>
                        <a:t>become</a:t>
                      </a:r>
                      <a:r>
                        <a:rPr lang="de-DE" sz="1600" dirty="0">
                          <a:latin typeface="+mn-lt"/>
                        </a:rPr>
                        <a:t> a </a:t>
                      </a:r>
                      <a:r>
                        <a:rPr lang="de-DE" sz="1600" dirty="0" err="1">
                          <a:latin typeface="+mn-lt"/>
                        </a:rPr>
                        <a:t>bottleneck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n-lt"/>
                        </a:rPr>
                        <a:t>Distributed, but </a:t>
                      </a:r>
                      <a:r>
                        <a:rPr lang="de-DE" sz="1600" dirty="0" err="1">
                          <a:latin typeface="+mn-lt"/>
                        </a:rPr>
                        <a:t>can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b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harder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to</a:t>
                      </a:r>
                      <a:r>
                        <a:rPr lang="de-DE" sz="1600" dirty="0">
                          <a:latin typeface="+mn-lt"/>
                        </a:rPr>
                        <a:t> track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34842188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864017" rtl="0" eaLnBrk="1" latinLnBrk="0" hangingPunct="1"/>
                      <a:r>
                        <a:rPr lang="de-DE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ault </a:t>
                      </a:r>
                      <a:r>
                        <a:rPr lang="de-DE" sz="16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olerance</a:t>
                      </a:r>
                      <a:endParaRPr lang="de-D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f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orchestrator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fails</a:t>
                      </a:r>
                      <a:r>
                        <a:rPr lang="de-DE" sz="1600" dirty="0">
                          <a:latin typeface="+mn-lt"/>
                        </a:rPr>
                        <a:t>, </a:t>
                      </a:r>
                      <a:r>
                        <a:rPr lang="de-DE" sz="1600" dirty="0" err="1">
                          <a:latin typeface="+mn-lt"/>
                        </a:rPr>
                        <a:t>flow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stops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 err="1">
                          <a:latin typeface="+mn-lt"/>
                        </a:rPr>
                        <a:t>Failur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doesn‘t</a:t>
                      </a:r>
                      <a:r>
                        <a:rPr lang="de-DE" sz="1600" dirty="0">
                          <a:latin typeface="+mn-lt"/>
                        </a:rPr>
                        <a:t> halt </a:t>
                      </a:r>
                      <a:r>
                        <a:rPr lang="de-DE" sz="1600" dirty="0" err="1">
                          <a:latin typeface="+mn-lt"/>
                        </a:rPr>
                        <a:t>th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entir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process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1988653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864017" rtl="0" eaLnBrk="1" latinLnBrk="0" hangingPunct="1"/>
                      <a:r>
                        <a:rPr lang="de-DE" sz="16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calability</a:t>
                      </a:r>
                      <a:endParaRPr lang="de-D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imited </a:t>
                      </a:r>
                      <a:r>
                        <a:rPr lang="de-DE" sz="1600" dirty="0" err="1">
                          <a:latin typeface="+mn-lt"/>
                        </a:rPr>
                        <a:t>by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orchestrator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>
                          <a:latin typeface="+mn-lt"/>
                        </a:rPr>
                        <a:t>High, </a:t>
                      </a:r>
                      <a:r>
                        <a:rPr lang="de-DE" sz="1600" dirty="0" err="1">
                          <a:latin typeface="+mn-lt"/>
                        </a:rPr>
                        <a:t>as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services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scale</a:t>
                      </a:r>
                      <a:r>
                        <a:rPr lang="de-DE" sz="1600" dirty="0">
                          <a:latin typeface="+mn-lt"/>
                        </a:rPr>
                        <a:t> </a:t>
                      </a:r>
                      <a:r>
                        <a:rPr lang="de-DE" sz="1600" dirty="0" err="1">
                          <a:latin typeface="+mn-lt"/>
                        </a:rPr>
                        <a:t>independently</a:t>
                      </a:r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176142289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r"/>
                      <a:endParaRPr lang="de-DE" sz="1600" dirty="0">
                        <a:latin typeface="+mn-lt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3401679751"/>
                  </a:ext>
                </a:extLst>
              </a:tr>
            </a:tbl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0F979A1F-F6B8-46AF-8C19-016892F5D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431800"/>
            <a:ext cx="5627329" cy="483960"/>
          </a:xfrm>
        </p:spPr>
        <p:txBody>
          <a:bodyPr/>
          <a:lstStyle/>
          <a:p>
            <a:r>
              <a:rPr lang="en-US" dirty="0"/>
              <a:t>Orchestration vs. Choreography</a:t>
            </a:r>
          </a:p>
        </p:txBody>
      </p:sp>
    </p:spTree>
    <p:extLst>
      <p:ext uri="{BB962C8B-B14F-4D97-AF65-F5344CB8AC3E}">
        <p14:creationId xmlns:p14="http://schemas.microsoft.com/office/powerpoint/2010/main" val="1873633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platzhalter 71" descr="Ein Bild, das Text, Gerät enthält.&#10;&#10;Automatisch generierte Beschreibung">
            <a:extLst>
              <a:ext uri="{FF2B5EF4-FFF2-40B4-BE49-F238E27FC236}">
                <a16:creationId xmlns:a16="http://schemas.microsoft.com/office/drawing/2014/main" id="{E0F2F026-7F5A-4E6D-8389-96DE174FE85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" b="23"/>
          <a:stretch/>
        </p:blipFill>
        <p:spPr/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579156-74E3-476C-9E0D-9164A4E9DD7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42BD1F-A700-4F5B-A3DF-9F97C18BD54E}" type="datetime1">
              <a:rPr lang="de-DE" smtClean="0"/>
              <a:t>31.08.2023</a:t>
            </a:fld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8D554C9-72AD-466E-7785-51B7344171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arcus Kaseder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B951E36-55B9-4701-BDC8-6933B16143E8}"/>
              </a:ext>
            </a:extLst>
          </p:cNvPr>
          <p:cNvSpPr txBox="1"/>
          <p:nvPr/>
        </p:nvSpPr>
        <p:spPr>
          <a:xfrm>
            <a:off x="432602" y="4320206"/>
            <a:ext cx="1872208" cy="14426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200" b="1" i="0" u="none" strike="noStrike" baseline="0" dirty="0" err="1">
                <a:solidFill>
                  <a:srgbClr val="FFFFFF"/>
                </a:solidFill>
              </a:rPr>
              <a:t>adesso</a:t>
            </a:r>
            <a:r>
              <a:rPr lang="en-US" sz="1200" b="1" i="0" u="none" strike="noStrike" baseline="0" dirty="0">
                <a:solidFill>
                  <a:srgbClr val="FFFFFF"/>
                </a:solidFill>
              </a:rPr>
              <a:t> SE</a:t>
            </a:r>
          </a:p>
          <a:p>
            <a:pPr algn="l"/>
            <a:r>
              <a:rPr lang="en-US" sz="1200" b="0" i="0" u="none" strike="noStrike" baseline="0" dirty="0" err="1">
                <a:solidFill>
                  <a:srgbClr val="FFFFFF"/>
                </a:solidFill>
                <a:latin typeface="+mj-lt"/>
              </a:rPr>
              <a:t>Adessoplatz</a:t>
            </a:r>
            <a:r>
              <a:rPr lang="en-US" sz="1200" b="0" i="0" u="none" strike="noStrike" baseline="0" dirty="0">
                <a:solidFill>
                  <a:srgbClr val="FFFFFF"/>
                </a:solidFill>
                <a:latin typeface="+mj-lt"/>
              </a:rPr>
              <a:t> 1</a:t>
            </a:r>
          </a:p>
          <a:p>
            <a:pPr algn="l"/>
            <a:r>
              <a:rPr lang="en-US" sz="1200" b="0" i="0" u="none" strike="noStrike" baseline="0" dirty="0">
                <a:solidFill>
                  <a:srgbClr val="FFFFFF"/>
                </a:solidFill>
                <a:latin typeface="+mj-lt"/>
              </a:rPr>
              <a:t>44269 Dortmund</a:t>
            </a:r>
          </a:p>
          <a:p>
            <a:pPr algn="l"/>
            <a:r>
              <a:rPr lang="en-US" sz="1200" dirty="0">
                <a:solidFill>
                  <a:srgbClr val="FFFFFF"/>
                </a:solidFill>
                <a:latin typeface="+mj-lt"/>
              </a:rPr>
              <a:t>Germany</a:t>
            </a:r>
            <a:endParaRPr lang="en-US" sz="1200" b="0" i="0" u="none" strike="noStrike" baseline="0" dirty="0">
              <a:solidFill>
                <a:srgbClr val="FFFFFF"/>
              </a:solidFill>
              <a:latin typeface="+mj-lt"/>
            </a:endParaRPr>
          </a:p>
          <a:p>
            <a:pPr algn="l"/>
            <a:r>
              <a:rPr lang="en-US" sz="1200" b="0" i="0" u="none" strike="noStrike" baseline="0" dirty="0">
                <a:solidFill>
                  <a:srgbClr val="FFFFFF"/>
                </a:solidFill>
                <a:latin typeface="+mj-lt"/>
              </a:rPr>
              <a:t>T +49 231 7000-7000</a:t>
            </a:r>
          </a:p>
          <a:p>
            <a:pPr algn="l"/>
            <a:r>
              <a:rPr lang="en-US" sz="1200" b="0" i="0" u="none" strike="noStrike" baseline="0" dirty="0">
                <a:solidFill>
                  <a:srgbClr val="FFFFFF"/>
                </a:solidFill>
                <a:latin typeface="+mj-lt"/>
              </a:rPr>
              <a:t>F +49 231 7000-1000</a:t>
            </a:r>
          </a:p>
          <a:p>
            <a:pPr algn="l"/>
            <a:r>
              <a:rPr lang="en-US" sz="1200" b="0" i="0" u="none" strike="noStrike" baseline="0" dirty="0">
                <a:solidFill>
                  <a:srgbClr val="FFFFFF"/>
                </a:solidFill>
                <a:latin typeface="+mj-lt"/>
              </a:rPr>
              <a:t>www.adesso.de/en</a:t>
            </a:r>
            <a:endParaRPr lang="en-US" sz="1200" b="1" cap="all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064C4E-FD5C-4C78-A383-5DCE8FA6500B}"/>
              </a:ext>
            </a:extLst>
          </p:cNvPr>
          <p:cNvSpPr txBox="1"/>
          <p:nvPr/>
        </p:nvSpPr>
        <p:spPr>
          <a:xfrm>
            <a:off x="431800" y="1799927"/>
            <a:ext cx="3165565" cy="58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180000" tIns="72000" rIns="180000" bIns="72000" rtlCol="0" anchor="ctr" anchorCtr="0">
            <a:spAutoFit/>
          </a:bodyPr>
          <a:lstStyle>
            <a:defPPr>
              <a:defRPr lang="de-DE"/>
            </a:defPPr>
            <a:lvl1pPr>
              <a:defRPr sz="285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ny thanks!</a:t>
            </a:r>
          </a:p>
        </p:txBody>
      </p:sp>
    </p:spTree>
    <p:extLst>
      <p:ext uri="{BB962C8B-B14F-4D97-AF65-F5344CB8AC3E}">
        <p14:creationId xmlns:p14="http://schemas.microsoft.com/office/powerpoint/2010/main" val="345202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esso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 Template 2022-Sept22.potx" id="{3C3092CC-291B-4E60-8A28-27E56E87987D}" vid="{16F25D9C-6B96-4C4B-B96E-A7F877DFA878}"/>
    </a:ext>
  </a:extLst>
</a:theme>
</file>

<file path=ppt/theme/theme2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adesso_colors">
      <a:dk1>
        <a:sysClr val="windowText" lastClr="000000"/>
      </a:dk1>
      <a:lt1>
        <a:sysClr val="window" lastClr="FFFFFF"/>
      </a:lt1>
      <a:dk2>
        <a:srgbClr val="062D47"/>
      </a:dk2>
      <a:lt2>
        <a:srgbClr val="F3F2F1"/>
      </a:lt2>
      <a:accent1>
        <a:srgbClr val="006EC7"/>
      </a:accent1>
      <a:accent2>
        <a:srgbClr val="C8B600"/>
      </a:accent2>
      <a:accent3>
        <a:srgbClr val="887D75"/>
      </a:accent3>
      <a:accent4>
        <a:srgbClr val="005C9E"/>
      </a:accent4>
      <a:accent5>
        <a:srgbClr val="003D69"/>
      </a:accent5>
      <a:accent6>
        <a:srgbClr val="ACA49E"/>
      </a:accent6>
      <a:hlink>
        <a:srgbClr val="006EC7"/>
      </a:hlink>
      <a:folHlink>
        <a:srgbClr val="ACA49E"/>
      </a:folHlink>
    </a:clrScheme>
    <a:fontScheme name="adesso_font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desso Template_April2023</Template>
  <TotalTime>0</TotalTime>
  <Words>198</Words>
  <Application>Microsoft Office PowerPoint</Application>
  <PresentationFormat>Benutzerdefiniert</PresentationFormat>
  <Paragraphs>59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Open Sans</vt:lpstr>
      <vt:lpstr>Open Sans Light</vt:lpstr>
      <vt:lpstr>adesso</vt:lpstr>
      <vt:lpstr>think-cell Folie</vt:lpstr>
      <vt:lpstr>PowerPoint-Präsentation</vt:lpstr>
      <vt:lpstr>Why Distributed Systems</vt:lpstr>
      <vt:lpstr>Traditional vs. Distributed Development</vt:lpstr>
      <vt:lpstr>Orchestration vs. Choreography</vt:lpstr>
      <vt:lpstr>Orchestration vs. Choreography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lrike Herzberg | i-pointing</dc:creator>
  <cp:lastModifiedBy>Kaseder, Marcus</cp:lastModifiedBy>
  <cp:revision>7</cp:revision>
  <dcterms:created xsi:type="dcterms:W3CDTF">2023-04-04T07:48:31Z</dcterms:created>
  <dcterms:modified xsi:type="dcterms:W3CDTF">2023-09-01T08:14:27Z</dcterms:modified>
</cp:coreProperties>
</file>